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75" r:id="rId3"/>
    <p:sldId id="274" r:id="rId4"/>
    <p:sldId id="259" r:id="rId5"/>
    <p:sldId id="260" r:id="rId6"/>
    <p:sldId id="261" r:id="rId7"/>
    <p:sldId id="272" r:id="rId8"/>
    <p:sldId id="276" r:id="rId9"/>
    <p:sldId id="273" r:id="rId10"/>
    <p:sldId id="258" r:id="rId11"/>
  </p:sldIdLst>
  <p:sldSz cx="10688638" cy="7562850"/>
  <p:notesSz cx="6858000" cy="9144000"/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237" autoAdjust="0"/>
  </p:normalViewPr>
  <p:slideViewPr>
    <p:cSldViewPr snapToGrid="0" snapToObjects="1">
      <p:cViewPr varScale="1">
        <p:scale>
          <a:sx n="84" d="100"/>
          <a:sy n="84" d="100"/>
        </p:scale>
        <p:origin x="462" y="84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6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7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989907145838616"/>
          <c:y val="3.7960120407219432E-2"/>
          <c:w val="0.70010811868878653"/>
          <c:h val="0.9240797591855611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5</c:f>
              <c:strCache>
                <c:ptCount val="4"/>
                <c:pt idx="0">
                  <c:v>CINEMA</c:v>
                </c:pt>
                <c:pt idx="1">
                  <c:v>REVISTA</c:v>
                </c:pt>
                <c:pt idx="2">
                  <c:v>RADIO</c:v>
                </c:pt>
                <c:pt idx="3">
                  <c:v>TV ABERTA</c:v>
                </c:pt>
              </c:strCache>
            </c:strRef>
          </c:cat>
          <c:val>
            <c:numRef>
              <c:f>Plan1!$B$2:$B$5</c:f>
              <c:numCache>
                <c:formatCode>_(* #,##0.00,,_);_(* \(#,##0.00,,\);_(* "-"_);_(@_)</c:formatCode>
                <c:ptCount val="4"/>
                <c:pt idx="0">
                  <c:v>5670</c:v>
                </c:pt>
                <c:pt idx="1">
                  <c:v>22271.999999999996</c:v>
                </c:pt>
                <c:pt idx="2">
                  <c:v>650795.60181379318</c:v>
                </c:pt>
                <c:pt idx="3">
                  <c:v>5291471.612720017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564253168"/>
        <c:axId val="564254848"/>
      </c:barChart>
      <c:catAx>
        <c:axId val="564253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64254848"/>
        <c:crosses val="autoZero"/>
        <c:auto val="1"/>
        <c:lblAlgn val="ctr"/>
        <c:lblOffset val="100"/>
        <c:noMultiLvlLbl val="0"/>
      </c:catAx>
      <c:valAx>
        <c:axId val="564254848"/>
        <c:scaling>
          <c:orientation val="minMax"/>
        </c:scaling>
        <c:delete val="1"/>
        <c:axPos val="b"/>
        <c:numFmt formatCode="_(* #,##0.00,,_);_(* \(#,##0.00,,\);_(* &quot;-&quot;_);_(@_)" sourceLinked="1"/>
        <c:majorTickMark val="none"/>
        <c:minorTickMark val="none"/>
        <c:tickLblPos val="nextTo"/>
        <c:crossAx val="564253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95000"/>
              <a:lumOff val="5000"/>
            </a:schemeClr>
          </a:solidFill>
        </a:defRPr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989907145838616"/>
          <c:y val="3.7960120407219432E-2"/>
          <c:w val="0.66011171376237288"/>
          <c:h val="0.9240797591855611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5</c:f>
              <c:strCache>
                <c:ptCount val="4"/>
                <c:pt idx="0">
                  <c:v>REVISTA</c:v>
                </c:pt>
                <c:pt idx="1">
                  <c:v>JORNAL</c:v>
                </c:pt>
                <c:pt idx="2">
                  <c:v>RADIO</c:v>
                </c:pt>
                <c:pt idx="3">
                  <c:v>TV ABERTA</c:v>
                </c:pt>
              </c:strCache>
            </c:strRef>
          </c:cat>
          <c:val>
            <c:numRef>
              <c:f>Plan1!$B$2:$B$5</c:f>
              <c:numCache>
                <c:formatCode>_(* #,##0.00,,_);_(* \(#,##0.00,,\);_(* "-"_);_(@_)</c:formatCode>
                <c:ptCount val="4"/>
                <c:pt idx="0">
                  <c:v>62463.999999999985</c:v>
                </c:pt>
                <c:pt idx="1">
                  <c:v>83607.999877929673</c:v>
                </c:pt>
                <c:pt idx="2">
                  <c:v>204828.40052604687</c:v>
                </c:pt>
                <c:pt idx="3">
                  <c:v>5701662.890676502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458971344"/>
        <c:axId val="458960144"/>
      </c:barChart>
      <c:catAx>
        <c:axId val="4589713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58960144"/>
        <c:crosses val="autoZero"/>
        <c:auto val="1"/>
        <c:lblAlgn val="ctr"/>
        <c:lblOffset val="100"/>
        <c:noMultiLvlLbl val="0"/>
      </c:catAx>
      <c:valAx>
        <c:axId val="458960144"/>
        <c:scaling>
          <c:orientation val="minMax"/>
        </c:scaling>
        <c:delete val="1"/>
        <c:axPos val="b"/>
        <c:numFmt formatCode="_(* #,##0.00,,_);_(* \(#,##0.00,,\);_(* &quot;-&quot;_);_(@_)" sourceLinked="1"/>
        <c:majorTickMark val="none"/>
        <c:minorTickMark val="none"/>
        <c:tickLblPos val="nextTo"/>
        <c:crossAx val="458971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95000"/>
              <a:lumOff val="5000"/>
            </a:schemeClr>
          </a:solidFill>
        </a:defRPr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43062108306021"/>
          <c:y val="0.16275239845289274"/>
          <c:w val="0.53480764758382726"/>
          <c:h val="0.67449520309421451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Lbls>
            <c:dLbl>
              <c:idx val="0"/>
              <c:layout>
                <c:manualLayout>
                  <c:x val="7.4522221607181173E-3"/>
                  <c:y val="-7.800949467153221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7.7006295660752941E-2"/>
                  <c:y val="-1.017515147889550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2420370267863377E-2"/>
                  <c:y val="5.76591917137412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4.9681481071453509E-2"/>
                  <c:y val="0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2356666482154078E-2"/>
                  <c:y val="0.1288852520660097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5.961777728574421E-2"/>
                  <c:y val="0.1153183834274824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9.9362962142907019E-2"/>
                  <c:y val="7.800949467153221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8.9426665928616311E-2"/>
                  <c:y val="5.087575739447753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8.6942591875043648E-2"/>
                  <c:y val="-3.3919842239751295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5.464982477498103E-2"/>
                  <c:y val="-3.052545443668652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4.2229258910735486E-2"/>
                  <c:y val="-6.1050989957715789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1.7388518375008728E-2"/>
                  <c:y val="2.035030295779101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Plan1!$A$2:$A$12</c:f>
              <c:strCache>
                <c:ptCount val="11"/>
                <c:pt idx="0">
                  <c:v>EMBARE</c:v>
                </c:pt>
                <c:pt idx="1">
                  <c:v>ITAMBE</c:v>
                </c:pt>
                <c:pt idx="2">
                  <c:v>DPA</c:v>
                </c:pt>
                <c:pt idx="3">
                  <c:v>IND COM LATICINIOS QUATA</c:v>
                </c:pt>
                <c:pt idx="4">
                  <c:v>NESTLE</c:v>
                </c:pt>
                <c:pt idx="5">
                  <c:v>YAKULT</c:v>
                </c:pt>
                <c:pt idx="6">
                  <c:v>LATICINIOS PORTO ALEGRE</c:v>
                </c:pt>
                <c:pt idx="7">
                  <c:v>DANONE</c:v>
                </c:pt>
                <c:pt idx="8">
                  <c:v>PEPSICO</c:v>
                </c:pt>
                <c:pt idx="9">
                  <c:v>CEMIL COOP MINEIRA</c:v>
                </c:pt>
                <c:pt idx="10">
                  <c:v>OUTROS</c:v>
                </c:pt>
              </c:strCache>
            </c:strRef>
          </c:cat>
          <c:val>
            <c:numRef>
              <c:f>Plan1!$B$2:$B$12</c:f>
              <c:numCache>
                <c:formatCode>"R$"_(* #,##0.000,,_);_(* \(#,##0.000,,\);_(* "-"_);_(@_)</c:formatCode>
                <c:ptCount val="11"/>
                <c:pt idx="0">
                  <c:v>1032362.0023880012</c:v>
                </c:pt>
                <c:pt idx="1">
                  <c:v>901360.3053283717</c:v>
                </c:pt>
                <c:pt idx="2">
                  <c:v>873012.00050354039</c:v>
                </c:pt>
                <c:pt idx="3">
                  <c:v>651324.5706329348</c:v>
                </c:pt>
                <c:pt idx="4">
                  <c:v>611822.80461120605</c:v>
                </c:pt>
                <c:pt idx="5">
                  <c:v>602588.80859374988</c:v>
                </c:pt>
                <c:pt idx="6">
                  <c:v>369716.72815704375</c:v>
                </c:pt>
                <c:pt idx="7">
                  <c:v>351969.84255027777</c:v>
                </c:pt>
                <c:pt idx="8">
                  <c:v>232174.71604156529</c:v>
                </c:pt>
                <c:pt idx="9">
                  <c:v>202913.03633308419</c:v>
                </c:pt>
                <c:pt idx="10">
                  <c:v>129997.9993476867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70847552375331"/>
          <c:y val="0.2319675594730638"/>
          <c:w val="0.56839174199898324"/>
          <c:h val="0.71808569261068644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Lbls>
            <c:dLbl>
              <c:idx val="0"/>
              <c:layout>
                <c:manualLayout>
                  <c:x val="7.4522221607181173E-3"/>
                  <c:y val="-7.800949467153221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9745184857162809E-2"/>
                  <c:y val="6.828202105866625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7.4522221607180264E-2"/>
                  <c:y val="8.59038892554345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5649666537507856"/>
                  <c:y val="0.1618858403821300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21859851671439545"/>
                  <c:y val="0.1602682620051942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22356666482154081"/>
                  <c:y val="6.1967386496457659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24840740535726755"/>
                  <c:y val="-9.145816807889711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12211551570257538"/>
                  <c:y val="-8.787211592397925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1.8130219856201359E-2"/>
                  <c:y val="-0.1015365264814828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.21114609895729525"/>
                  <c:y val="-6.904237679741226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.30057296048229365"/>
                  <c:y val="5.962750723412878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0.33286592317873842"/>
                  <c:y val="0.1569144927213915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vertOverflow="overflow" horzOverflow="overflow">
                <a:spAutoFit/>
              </a:bodyPr>
              <a:lstStyle/>
              <a:p>
                <a:pPr>
                  <a:defRPr sz="8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12</c:f>
              <c:strCache>
                <c:ptCount val="11"/>
                <c:pt idx="0">
                  <c:v>NESTLE</c:v>
                </c:pt>
                <c:pt idx="1">
                  <c:v>DPA</c:v>
                </c:pt>
                <c:pt idx="2">
                  <c:v>EMBARE</c:v>
                </c:pt>
                <c:pt idx="3">
                  <c:v>YAKULT</c:v>
                </c:pt>
                <c:pt idx="4">
                  <c:v>ITAMBE</c:v>
                </c:pt>
                <c:pt idx="5">
                  <c:v>COOP AGRO PECUARIA DE DIVINOPOLIS</c:v>
                </c:pt>
                <c:pt idx="6">
                  <c:v>TREVO ALIMENTOS</c:v>
                </c:pt>
                <c:pt idx="7">
                  <c:v>LATICINIOS BELA VISTA</c:v>
                </c:pt>
                <c:pt idx="8">
                  <c:v>PEPSICO</c:v>
                </c:pt>
                <c:pt idx="9">
                  <c:v>MOCOCA PRODS ALIMENTICIOS</c:v>
                </c:pt>
                <c:pt idx="10">
                  <c:v>CEMIL COOP MINEIRA</c:v>
                </c:pt>
              </c:strCache>
            </c:strRef>
          </c:cat>
          <c:val>
            <c:numRef>
              <c:f>Plan1!$B$2:$B$12</c:f>
              <c:numCache>
                <c:formatCode>"R$"_(* #,##0.00,,_);_(* \(#,##0.00,,\);_(* "-"_);_(@_)</c:formatCode>
                <c:ptCount val="11"/>
                <c:pt idx="0">
                  <c:v>3741199.5996327442</c:v>
                </c:pt>
                <c:pt idx="1">
                  <c:v>644212.80781745911</c:v>
                </c:pt>
                <c:pt idx="2">
                  <c:v>600766.40698242153</c:v>
                </c:pt>
                <c:pt idx="3">
                  <c:v>326733.42968750041</c:v>
                </c:pt>
                <c:pt idx="4">
                  <c:v>289925.84745645529</c:v>
                </c:pt>
                <c:pt idx="5">
                  <c:v>118460.80047607428</c:v>
                </c:pt>
                <c:pt idx="6">
                  <c:v>97764.7998046875</c:v>
                </c:pt>
                <c:pt idx="7">
                  <c:v>89031.598892211987</c:v>
                </c:pt>
                <c:pt idx="8">
                  <c:v>85529.600219726548</c:v>
                </c:pt>
                <c:pt idx="9">
                  <c:v>35606.399841308616</c:v>
                </c:pt>
                <c:pt idx="10">
                  <c:v>22598.40026855468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64555128630133"/>
          <c:y val="0"/>
          <c:w val="0.6087737253235499"/>
          <c:h val="0.962980589851434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4</c:f>
              <c:strCache>
                <c:ptCount val="3"/>
                <c:pt idx="0">
                  <c:v>TV ABERTA</c:v>
                </c:pt>
                <c:pt idx="1">
                  <c:v>RADIO</c:v>
                </c:pt>
                <c:pt idx="2">
                  <c:v>REVISTA</c:v>
                </c:pt>
              </c:strCache>
            </c:strRef>
          </c:cat>
          <c:val>
            <c:numRef>
              <c:f>Plan1!$B$2:$B$4</c:f>
              <c:numCache>
                <c:formatCode>_-* #,##0_-;\-* #,##0_-;_-* "-"??_-;_-@_-</c:formatCode>
                <c:ptCount val="3"/>
                <c:pt idx="0">
                  <c:v>173719.03613281256</c:v>
                </c:pt>
                <c:pt idx="1">
                  <c:v>21770.000200271625</c:v>
                </c:pt>
                <c:pt idx="2">
                  <c:v>7423.999999999999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348409664"/>
        <c:axId val="460478640"/>
      </c:barChart>
      <c:catAx>
        <c:axId val="3484096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460478640"/>
        <c:crosses val="autoZero"/>
        <c:auto val="1"/>
        <c:lblAlgn val="ctr"/>
        <c:lblOffset val="100"/>
        <c:noMultiLvlLbl val="0"/>
      </c:catAx>
      <c:valAx>
        <c:axId val="460478640"/>
        <c:scaling>
          <c:orientation val="minMax"/>
        </c:scaling>
        <c:delete val="1"/>
        <c:axPos val="t"/>
        <c:numFmt formatCode="_-* #,##0_-;\-* #,##0_-;_-* &quot;-&quot;??_-;_-@_-" sourceLinked="1"/>
        <c:majorTickMark val="none"/>
        <c:minorTickMark val="none"/>
        <c:tickLblPos val="nextTo"/>
        <c:crossAx val="348409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+mj-lt"/>
        </a:defRPr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429668918964012"/>
          <c:y val="0"/>
          <c:w val="0.6087737253235499"/>
          <c:h val="0.962980589851434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3</c:f>
              <c:strCache>
                <c:ptCount val="2"/>
                <c:pt idx="0">
                  <c:v>TV ABERTA</c:v>
                </c:pt>
                <c:pt idx="1">
                  <c:v>JORNAL</c:v>
                </c:pt>
              </c:strCache>
            </c:strRef>
          </c:cat>
          <c:val>
            <c:numRef>
              <c:f>Plan1!$B$2:$B$3</c:f>
              <c:numCache>
                <c:formatCode>_-* #,##0_-;\-* #,##0_-;_-* "-"??_-;_-@_-</c:formatCode>
                <c:ptCount val="2"/>
                <c:pt idx="0">
                  <c:v>14750.400390625005</c:v>
                </c:pt>
                <c:pt idx="1">
                  <c:v>7847.999877929678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460480880"/>
        <c:axId val="460481440"/>
      </c:barChart>
      <c:catAx>
        <c:axId val="46048088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460481440"/>
        <c:crosses val="autoZero"/>
        <c:auto val="1"/>
        <c:lblAlgn val="ctr"/>
        <c:lblOffset val="100"/>
        <c:noMultiLvlLbl val="0"/>
      </c:catAx>
      <c:valAx>
        <c:axId val="460481440"/>
        <c:scaling>
          <c:orientation val="minMax"/>
        </c:scaling>
        <c:delete val="1"/>
        <c:axPos val="t"/>
        <c:numFmt formatCode="_-* #,##0_-;\-* #,##0_-;_-* &quot;-&quot;??_-;_-@_-" sourceLinked="1"/>
        <c:majorTickMark val="none"/>
        <c:minorTickMark val="none"/>
        <c:tickLblPos val="nextTo"/>
        <c:crossAx val="460480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+mj-lt"/>
        </a:defRPr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48775854006327"/>
          <c:y val="0.23312446361064434"/>
          <c:w val="0.37107296908228193"/>
          <c:h val="0.64167029070237325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Investimento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2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3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4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5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2.3973393617673072E-2"/>
                  <c:y val="6.6918602149876771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3992151305733033E-2"/>
                  <c:y val="-5.6700080512823665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5264965435477376"/>
                  <c:y val="0.10566002077353771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1675554574556049"/>
                  <c:y val="-8.8074141771371309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3170428939415599"/>
                  <c:y val="-9.6754169489867828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Plan1!$A$2:$A$6</c:f>
              <c:strCache>
                <c:ptCount val="5"/>
                <c:pt idx="0">
                  <c:v>BANDEIRANTES</c:v>
                </c:pt>
                <c:pt idx="1">
                  <c:v>GLOBO</c:v>
                </c:pt>
                <c:pt idx="2">
                  <c:v>SBT</c:v>
                </c:pt>
                <c:pt idx="3">
                  <c:v>RECORD</c:v>
                </c:pt>
                <c:pt idx="4">
                  <c:v>TV!</c:v>
                </c:pt>
              </c:strCache>
            </c:strRef>
          </c:cat>
          <c:val>
            <c:numRef>
              <c:f>Plan1!$B$2:$B$6</c:f>
              <c:numCache>
                <c:formatCode>_-* #,##0_-;\-* #,##0_-;_-* "-"??_-;_-@_-</c:formatCode>
                <c:ptCount val="5"/>
                <c:pt idx="0">
                  <c:v>2410279.1794967675</c:v>
                </c:pt>
                <c:pt idx="1">
                  <c:v>2298679.7003211994</c:v>
                </c:pt>
                <c:pt idx="2">
                  <c:v>887896.00850105286</c:v>
                </c:pt>
                <c:pt idx="3">
                  <c:v>94646.402015686064</c:v>
                </c:pt>
                <c:pt idx="4">
                  <c:v>10161.6003417968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hare de Investimento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A$2</c:f>
              <c:strCache>
                <c:ptCount val="1"/>
                <c:pt idx="0">
                  <c:v>Globo</c:v>
                </c:pt>
              </c:strCache>
            </c:strRef>
          </c:cat>
          <c:val>
            <c:numRef>
              <c:f>Plan1!$B$2</c:f>
              <c:numCache>
                <c:formatCode>0.0%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hare de Audiênci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A$2</c:f>
              <c:strCache>
                <c:ptCount val="1"/>
                <c:pt idx="0">
                  <c:v>Globo</c:v>
                </c:pt>
              </c:strCache>
            </c:strRef>
          </c:cat>
          <c:val>
            <c:numRef>
              <c:f>Plan1!$C$2</c:f>
              <c:numCache>
                <c:formatCode>0.0%</c:formatCode>
                <c:ptCount val="1"/>
                <c:pt idx="0">
                  <c:v>0.394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axId val="653022416"/>
        <c:axId val="306667584"/>
      </c:barChart>
      <c:scatterChart>
        <c:scatterStyle val="lineMarker"/>
        <c:varyColors val="0"/>
        <c:ser>
          <c:idx val="2"/>
          <c:order val="2"/>
          <c:tx>
            <c:strRef>
              <c:f>Plan1!$D$1</c:f>
              <c:strCache>
                <c:ptCount val="1"/>
                <c:pt idx="0">
                  <c:v>Índice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17"/>
          </c:marker>
          <c:dLbls>
            <c:dLbl>
              <c:idx val="0"/>
              <c:layout>
                <c:manualLayout>
                  <c:x val="-4.1458855892180992E-2"/>
                  <c:y val="-8.06179363909060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5.0736362105815939E-2"/>
                  <c:y val="-0.1122350041914534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8690477485754445E-2"/>
                  <c:y val="-6.75306182647793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4217688555147856E-2"/>
                  <c:y val="-7.4639104397914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1320862726563203E-2"/>
                  <c:y val="-0.103073048930452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Plan1!$A$2</c:f>
              <c:strCache>
                <c:ptCount val="1"/>
                <c:pt idx="0">
                  <c:v>Globo</c:v>
                </c:pt>
              </c:strCache>
            </c:strRef>
          </c:xVal>
          <c:yVal>
            <c:numRef>
              <c:f>Plan1!$D$2</c:f>
              <c:numCache>
                <c:formatCode>0</c:formatCode>
                <c:ptCount val="1"/>
                <c:pt idx="0">
                  <c:v>253.80710659898477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44343728"/>
        <c:axId val="340446320"/>
      </c:scatterChart>
      <c:catAx>
        <c:axId val="6530224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pt-BR"/>
          </a:p>
        </c:txPr>
        <c:crossAx val="306667584"/>
        <c:crosses val="autoZero"/>
        <c:auto val="1"/>
        <c:lblAlgn val="ctr"/>
        <c:lblOffset val="100"/>
        <c:noMultiLvlLbl val="0"/>
      </c:catAx>
      <c:valAx>
        <c:axId val="306667584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653022416"/>
        <c:crosses val="autoZero"/>
        <c:crossBetween val="between"/>
      </c:valAx>
      <c:valAx>
        <c:axId val="34044632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344343728"/>
        <c:crosses val="max"/>
        <c:crossBetween val="midCat"/>
      </c:valAx>
      <c:valAx>
        <c:axId val="344343728"/>
        <c:scaling>
          <c:orientation val="minMax"/>
        </c:scaling>
        <c:delete val="1"/>
        <c:axPos val="b"/>
        <c:majorTickMark val="out"/>
        <c:minorTickMark val="none"/>
        <c:tickLblPos val="nextTo"/>
        <c:crossAx val="340446320"/>
        <c:crosses val="autoZero"/>
        <c:crossBetween val="midCat"/>
      </c:valAx>
    </c:plotArea>
    <c:legend>
      <c:legendPos val="b"/>
      <c:layout/>
      <c:overlay val="0"/>
      <c:txPr>
        <a:bodyPr/>
        <a:lstStyle/>
        <a:p>
          <a:pPr>
            <a:defRPr sz="1200">
              <a:latin typeface="Arial" panose="020B0604020202020204" pitchFamily="34" charset="0"/>
              <a:cs typeface="Arial" panose="020B0604020202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pt-BR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hare de Investimento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A$2</c:f>
              <c:strCache>
                <c:ptCount val="1"/>
                <c:pt idx="0">
                  <c:v>Sbt</c:v>
                </c:pt>
              </c:strCache>
            </c:strRef>
          </c:cat>
          <c:val>
            <c:numRef>
              <c:f>Plan1!$B$2</c:f>
              <c:numCache>
                <c:formatCode>0.0%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hare de Audiênci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A$2</c:f>
              <c:strCache>
                <c:ptCount val="1"/>
                <c:pt idx="0">
                  <c:v>Sbt</c:v>
                </c:pt>
              </c:strCache>
            </c:strRef>
          </c:cat>
          <c:val>
            <c:numRef>
              <c:f>Plan1!$C$2</c:f>
              <c:numCache>
                <c:formatCode>0.0%</c:formatCode>
                <c:ptCount val="1"/>
                <c:pt idx="0">
                  <c:v>0.131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axId val="342492576"/>
        <c:axId val="342495936"/>
      </c:barChart>
      <c:scatterChart>
        <c:scatterStyle val="lineMarker"/>
        <c:varyColors val="0"/>
        <c:ser>
          <c:idx val="2"/>
          <c:order val="2"/>
          <c:tx>
            <c:strRef>
              <c:f>Plan1!$D$1</c:f>
              <c:strCache>
                <c:ptCount val="1"/>
                <c:pt idx="0">
                  <c:v>Índice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17"/>
          </c:marker>
          <c:dLbls>
            <c:dLbl>
              <c:idx val="0"/>
              <c:layout>
                <c:manualLayout>
                  <c:x val="-4.1458855892180992E-2"/>
                  <c:y val="-8.06179363909060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5.0736362105815939E-2"/>
                  <c:y val="-0.1122350041914534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8690477485754445E-2"/>
                  <c:y val="-6.75306182647793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4217688555147856E-2"/>
                  <c:y val="-7.4639104397914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1320862726563203E-2"/>
                  <c:y val="-0.103073048930452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Plan1!$A$2</c:f>
              <c:strCache>
                <c:ptCount val="1"/>
                <c:pt idx="0">
                  <c:v>Sbt</c:v>
                </c:pt>
              </c:strCache>
            </c:strRef>
          </c:xVal>
          <c:yVal>
            <c:numRef>
              <c:f>Plan1!$D$2</c:f>
              <c:numCache>
                <c:formatCode>0</c:formatCode>
                <c:ptCount val="1"/>
                <c:pt idx="0">
                  <c:v>763.35877862595419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8021200"/>
        <c:axId val="468023440"/>
      </c:scatterChart>
      <c:catAx>
        <c:axId val="3424925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pt-BR"/>
          </a:p>
        </c:txPr>
        <c:crossAx val="342495936"/>
        <c:crosses val="autoZero"/>
        <c:auto val="1"/>
        <c:lblAlgn val="ctr"/>
        <c:lblOffset val="100"/>
        <c:noMultiLvlLbl val="0"/>
      </c:catAx>
      <c:valAx>
        <c:axId val="342495936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342492576"/>
        <c:crosses val="autoZero"/>
        <c:crossBetween val="between"/>
      </c:valAx>
      <c:valAx>
        <c:axId val="46802344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468021200"/>
        <c:crosses val="max"/>
        <c:crossBetween val="midCat"/>
      </c:valAx>
      <c:valAx>
        <c:axId val="468021200"/>
        <c:scaling>
          <c:orientation val="minMax"/>
        </c:scaling>
        <c:delete val="1"/>
        <c:axPos val="b"/>
        <c:majorTickMark val="out"/>
        <c:minorTickMark val="none"/>
        <c:tickLblPos val="nextTo"/>
        <c:crossAx val="468023440"/>
        <c:crosses val="autoZero"/>
        <c:crossBetween val="midCat"/>
      </c:valAx>
    </c:plotArea>
    <c:legend>
      <c:legendPos val="b"/>
      <c:layout/>
      <c:overlay val="0"/>
      <c:txPr>
        <a:bodyPr/>
        <a:lstStyle/>
        <a:p>
          <a:pPr>
            <a:defRPr sz="1200">
              <a:latin typeface="Arial" panose="020B0604020202020204" pitchFamily="34" charset="0"/>
              <a:cs typeface="Arial" panose="020B0604020202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pt-B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2778" y="7123942"/>
            <a:ext cx="3774678" cy="4026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smtClean="0"/>
              <a:t>Inteligência de Mercado Grupo Bandeirant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1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1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1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1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1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1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1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10/1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3674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10/1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3774678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smtClean="0"/>
              <a:t>Inteligência de Mercado Grupo Bandeirantes</a:t>
            </a:r>
            <a:endParaRPr lang="en-US" sz="1400" dirty="0"/>
          </a:p>
        </p:txBody>
      </p:sp>
      <p:pic>
        <p:nvPicPr>
          <p:cNvPr id="13" name="Picture 73" descr="http://www.astronautasfx.com/img/capa/leite_cemil.jpg"/>
          <p:cNvPicPr>
            <a:picLocks noChangeAspect="1" noChangeArrowheads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05" t="27635" r="4844" b="18605"/>
          <a:stretch/>
        </p:blipFill>
        <p:spPr bwMode="auto">
          <a:xfrm>
            <a:off x="694947" y="198438"/>
            <a:ext cx="1236723" cy="62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430" y="3229"/>
            <a:ext cx="10728000" cy="758421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01147" y="4521315"/>
            <a:ext cx="5236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Informações de Mídia e </a:t>
            </a:r>
            <a:r>
              <a:rPr lang="pt-BR" sz="2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Mercado</a:t>
            </a:r>
            <a:endParaRPr lang="pt-BR" sz="24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ão Paulo, </a:t>
            </a:r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02</a:t>
            </a:r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</a:t>
            </a:r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de outubro </a:t>
            </a:r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de 2014</a:t>
            </a:r>
            <a:endParaRPr lang="pt-BR" sz="11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pic>
        <p:nvPicPr>
          <p:cNvPr id="2121" name="Picture 73" descr="http://www.astronautasfx.com/img/capa/leite_cemil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05" t="27635" r="4844" b="18605"/>
          <a:stretch/>
        </p:blipFill>
        <p:spPr bwMode="auto">
          <a:xfrm>
            <a:off x="6875855" y="3017520"/>
            <a:ext cx="2526030" cy="128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584" y="0"/>
            <a:ext cx="10709648" cy="7571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80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567051" y="2666281"/>
            <a:ext cx="9445629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>
                <a:latin typeface="Arial" panose="020B0604020202020204" pitchFamily="34" charset="0"/>
                <a:cs typeface="Arial" panose="020B0604020202020204" pitchFamily="34" charset="0"/>
              </a:rPr>
              <a:t>INVESTIMENTOS EM </a:t>
            </a: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MÍDIA</a:t>
            </a:r>
            <a:endParaRPr lang="pt-BR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ATEGORIA: LEITES PUROS E ADITIVADOS</a:t>
            </a:r>
          </a:p>
          <a:p>
            <a:pPr algn="ctr"/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RAÇA: BELO HORIZONTE</a:t>
            </a:r>
            <a:r>
              <a:rPr 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22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17312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ector reto 6"/>
          <p:cNvCxnSpPr/>
          <p:nvPr/>
        </p:nvCxnSpPr>
        <p:spPr>
          <a:xfrm>
            <a:off x="277872" y="233798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/>
          <p:cNvSpPr txBox="1"/>
          <p:nvPr/>
        </p:nvSpPr>
        <p:spPr>
          <a:xfrm>
            <a:off x="304552" y="1987729"/>
            <a:ext cx="3883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3 (</a:t>
            </a:r>
            <a:r>
              <a:rPr lang="pt-BR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dez): Investimento R$ 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6,0 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ilhões </a:t>
            </a:r>
            <a:endParaRPr lang="pt-B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Conector reto 9"/>
          <p:cNvCxnSpPr/>
          <p:nvPr/>
        </p:nvCxnSpPr>
        <p:spPr>
          <a:xfrm>
            <a:off x="5462448" y="233798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5489128" y="1987729"/>
            <a:ext cx="3883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4 (</a:t>
            </a:r>
            <a:r>
              <a:rPr lang="pt-BR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): Investimento R$ 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6,1 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ilhões </a:t>
            </a:r>
            <a:endParaRPr lang="pt-B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193989" y="1062297"/>
            <a:ext cx="10262582" cy="677114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O principal meio de veiculação da categoria é a TV Aberta. Os investimentos realizados até agosto de 2014 já superam os investimentos do ano anterior.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5981578" y="6913077"/>
            <a:ext cx="44502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Valores líquidos R$ (000)</a:t>
            </a:r>
          </a:p>
        </p:txBody>
      </p:sp>
      <p:graphicFrame>
        <p:nvGraphicFramePr>
          <p:cNvPr id="5" name="Gráfico 4"/>
          <p:cNvGraphicFramePr/>
          <p:nvPr>
            <p:extLst>
              <p:ext uri="{D42A27DB-BD31-4B8C-83A1-F6EECF244321}">
                <p14:modId xmlns:p14="http://schemas.microsoft.com/office/powerpoint/2010/main" val="374701581"/>
              </p:ext>
            </p:extLst>
          </p:nvPr>
        </p:nvGraphicFramePr>
        <p:xfrm>
          <a:off x="304552" y="2560602"/>
          <a:ext cx="4127871" cy="3680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Gráfico 15"/>
          <p:cNvGraphicFramePr/>
          <p:nvPr>
            <p:extLst>
              <p:ext uri="{D42A27DB-BD31-4B8C-83A1-F6EECF244321}">
                <p14:modId xmlns:p14="http://schemas.microsoft.com/office/powerpoint/2010/main" val="3514277155"/>
              </p:ext>
            </p:extLst>
          </p:nvPr>
        </p:nvGraphicFramePr>
        <p:xfrm>
          <a:off x="5489128" y="2560602"/>
          <a:ext cx="4127871" cy="3680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4526278" y="3009156"/>
            <a:ext cx="5693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88,6%</a:t>
            </a:r>
            <a:endParaRPr lang="pt-BR" sz="1200" dirty="0"/>
          </a:p>
        </p:txBody>
      </p:sp>
      <p:sp>
        <p:nvSpPr>
          <p:cNvPr id="18" name="CaixaDeTexto 17"/>
          <p:cNvSpPr txBox="1"/>
          <p:nvPr/>
        </p:nvSpPr>
        <p:spPr>
          <a:xfrm>
            <a:off x="4526278" y="3854731"/>
            <a:ext cx="5693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10,9%</a:t>
            </a:r>
            <a:endParaRPr lang="pt-BR" sz="1200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4526278" y="4700306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0,4%</a:t>
            </a:r>
            <a:endParaRPr lang="pt-BR" sz="1200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4526278" y="5545880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0,1%</a:t>
            </a:r>
            <a:endParaRPr lang="pt-BR" sz="1200" dirty="0"/>
          </a:p>
        </p:txBody>
      </p:sp>
      <p:sp>
        <p:nvSpPr>
          <p:cNvPr id="22" name="CaixaDeTexto 21"/>
          <p:cNvSpPr txBox="1"/>
          <p:nvPr/>
        </p:nvSpPr>
        <p:spPr>
          <a:xfrm>
            <a:off x="9726928" y="3009156"/>
            <a:ext cx="5693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94,2%</a:t>
            </a:r>
            <a:endParaRPr lang="pt-BR" sz="1200" dirty="0"/>
          </a:p>
        </p:txBody>
      </p:sp>
      <p:sp>
        <p:nvSpPr>
          <p:cNvPr id="23" name="CaixaDeTexto 22"/>
          <p:cNvSpPr txBox="1"/>
          <p:nvPr/>
        </p:nvSpPr>
        <p:spPr>
          <a:xfrm>
            <a:off x="9726928" y="3854731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3,4%</a:t>
            </a:r>
            <a:endParaRPr lang="pt-BR" sz="1200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9726928" y="4700306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1,4%</a:t>
            </a:r>
            <a:endParaRPr lang="pt-BR" sz="1200" dirty="0"/>
          </a:p>
        </p:txBody>
      </p:sp>
      <p:sp>
        <p:nvSpPr>
          <p:cNvPr id="25" name="CaixaDeTexto 24"/>
          <p:cNvSpPr txBox="1"/>
          <p:nvPr/>
        </p:nvSpPr>
        <p:spPr>
          <a:xfrm>
            <a:off x="9726928" y="5545880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1,0%</a:t>
            </a:r>
            <a:endParaRPr lang="pt-BR" sz="1200" dirty="0"/>
          </a:p>
        </p:txBody>
      </p:sp>
      <p:sp>
        <p:nvSpPr>
          <p:cNvPr id="26" name="CaixaDeTexto 25"/>
          <p:cNvSpPr txBox="1"/>
          <p:nvPr/>
        </p:nvSpPr>
        <p:spPr>
          <a:xfrm>
            <a:off x="4301550" y="1986240"/>
            <a:ext cx="914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%</a:t>
            </a:r>
            <a:endParaRPr lang="pt-B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CaixaDeTexto 26"/>
          <p:cNvSpPr txBox="1"/>
          <p:nvPr/>
        </p:nvSpPr>
        <p:spPr>
          <a:xfrm>
            <a:off x="9502200" y="1986240"/>
            <a:ext cx="914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%</a:t>
            </a:r>
            <a:endParaRPr lang="pt-B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" name="Conector reto 27"/>
          <p:cNvCxnSpPr/>
          <p:nvPr/>
        </p:nvCxnSpPr>
        <p:spPr>
          <a:xfrm flipV="1">
            <a:off x="5368354" y="2490387"/>
            <a:ext cx="0" cy="37503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2217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93540491"/>
              </p:ext>
            </p:extLst>
          </p:nvPr>
        </p:nvGraphicFramePr>
        <p:xfrm>
          <a:off x="232544" y="2655650"/>
          <a:ext cx="5112569" cy="4053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7" name="Conector reto 6"/>
          <p:cNvCxnSpPr/>
          <p:nvPr/>
        </p:nvCxnSpPr>
        <p:spPr>
          <a:xfrm>
            <a:off x="277872" y="245228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/>
          <p:cNvSpPr txBox="1"/>
          <p:nvPr/>
        </p:nvSpPr>
        <p:spPr>
          <a:xfrm>
            <a:off x="304552" y="2067739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2013 (</a:t>
            </a:r>
            <a:r>
              <a:rPr lang="pt-BR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-dez): Investimento R$ 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6,0 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milhões </a:t>
            </a:r>
            <a:endParaRPr lang="pt-BR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3758924895"/>
              </p:ext>
            </p:extLst>
          </p:nvPr>
        </p:nvGraphicFramePr>
        <p:xfrm>
          <a:off x="5489128" y="2662619"/>
          <a:ext cx="5112569" cy="4046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Conector reto 9"/>
          <p:cNvCxnSpPr/>
          <p:nvPr/>
        </p:nvCxnSpPr>
        <p:spPr>
          <a:xfrm>
            <a:off x="5462448" y="245228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5489128" y="2067739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2014 (</a:t>
            </a:r>
            <a:r>
              <a:rPr lang="pt-BR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): Investimento R$ 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6,1 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milhões </a:t>
            </a:r>
            <a:endParaRPr lang="pt-BR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193989" y="1062297"/>
            <a:ext cx="10262582" cy="677114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Considerando os anunciantes presentes nesta categoria na praça de Belo Horizonte, a </a:t>
            </a:r>
            <a:r>
              <a:rPr lang="pt-BR" sz="1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emil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tem baixo investimento no mercado publicitário comparado às suas concorrentes.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Elipse 12"/>
          <p:cNvSpPr/>
          <p:nvPr/>
        </p:nvSpPr>
        <p:spPr>
          <a:xfrm>
            <a:off x="1252502" y="2522319"/>
            <a:ext cx="747747" cy="670480"/>
          </a:xfrm>
          <a:prstGeom prst="ellipse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Elipse 13"/>
          <p:cNvSpPr/>
          <p:nvPr/>
        </p:nvSpPr>
        <p:spPr>
          <a:xfrm>
            <a:off x="9258300" y="3157276"/>
            <a:ext cx="742950" cy="671773"/>
          </a:xfrm>
          <a:prstGeom prst="ellipse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/>
          <p:cNvSpPr txBox="1"/>
          <p:nvPr/>
        </p:nvSpPr>
        <p:spPr>
          <a:xfrm>
            <a:off x="5981578" y="6913077"/>
            <a:ext cx="44502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Valores líquidos R$ (000)</a:t>
            </a:r>
          </a:p>
        </p:txBody>
      </p:sp>
    </p:spTree>
    <p:extLst>
      <p:ext uri="{BB962C8B-B14F-4D97-AF65-F5344CB8AC3E}">
        <p14:creationId xmlns:p14="http://schemas.microsoft.com/office/powerpoint/2010/main" val="2783146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548995" y="3244944"/>
            <a:ext cx="7684549" cy="102865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>
            <a:defPPr>
              <a:defRPr lang="pt-BR"/>
            </a:defPPr>
            <a:lvl1pPr algn="ctr"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/>
              <a:t>INVESTIMENTOS EM MÍDIA </a:t>
            </a:r>
          </a:p>
          <a:p>
            <a:r>
              <a:rPr lang="pt-BR" dirty="0" smtClean="0"/>
              <a:t>CEMIL COOP MINEIR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9925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93989" y="1130877"/>
            <a:ext cx="10262582" cy="969502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De acordo com o Ibope Monitor e considerando descontos estimados, a 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CEMIL 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concentra seus investimentos em TV 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Aberta. Até o mês de agosto, seus investimentos em 2014 representam apenas 11% do investimento realizado em 2013. 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Conector reto 6"/>
          <p:cNvCxnSpPr/>
          <p:nvPr/>
        </p:nvCxnSpPr>
        <p:spPr>
          <a:xfrm>
            <a:off x="160536" y="266565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/>
          <p:cNvSpPr txBox="1"/>
          <p:nvPr/>
        </p:nvSpPr>
        <p:spPr>
          <a:xfrm>
            <a:off x="173876" y="2341687"/>
            <a:ext cx="4163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3 (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-dez): Investimento R$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2,9 mil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Conector reto 8"/>
          <p:cNvCxnSpPr/>
          <p:nvPr/>
        </p:nvCxnSpPr>
        <p:spPr>
          <a:xfrm>
            <a:off x="5335910" y="2592829"/>
            <a:ext cx="9202" cy="410400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Gráfico 9"/>
          <p:cNvGraphicFramePr/>
          <p:nvPr>
            <p:extLst>
              <p:ext uri="{D42A27DB-BD31-4B8C-83A1-F6EECF244321}">
                <p14:modId xmlns:p14="http://schemas.microsoft.com/office/powerpoint/2010/main" val="370480554"/>
              </p:ext>
            </p:extLst>
          </p:nvPr>
        </p:nvGraphicFramePr>
        <p:xfrm>
          <a:off x="110449" y="2881987"/>
          <a:ext cx="4494670" cy="3773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4452945" y="2341687"/>
            <a:ext cx="748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4517480" y="3388423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85,6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4559959" y="4506329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10,7</a:t>
            </a:r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Conector reto 13"/>
          <p:cNvCxnSpPr/>
          <p:nvPr/>
        </p:nvCxnSpPr>
        <p:spPr>
          <a:xfrm>
            <a:off x="5450777" y="266565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/>
          <p:cNvSpPr txBox="1"/>
          <p:nvPr/>
        </p:nvSpPr>
        <p:spPr>
          <a:xfrm>
            <a:off x="5464117" y="2341687"/>
            <a:ext cx="4163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4 (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: Investimento R$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2,6 mil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Gráfico 15"/>
          <p:cNvGraphicFramePr/>
          <p:nvPr>
            <p:extLst>
              <p:ext uri="{D42A27DB-BD31-4B8C-83A1-F6EECF244321}">
                <p14:modId xmlns:p14="http://schemas.microsoft.com/office/powerpoint/2010/main" val="3386920007"/>
              </p:ext>
            </p:extLst>
          </p:nvPr>
        </p:nvGraphicFramePr>
        <p:xfrm>
          <a:off x="5400690" y="2881987"/>
          <a:ext cx="4494670" cy="3773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9743186" y="2341687"/>
            <a:ext cx="748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9856481" y="3650081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65,3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9898961" y="5469005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34,7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5894486" y="6980025"/>
            <a:ext cx="44502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Valores líquidos R$ (000)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4559959" y="5705872"/>
            <a:ext cx="5341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3,7</a:t>
            </a:r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9524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537211" y="3004914"/>
            <a:ext cx="9681210" cy="102865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>
            <a:defPPr>
              <a:defRPr lang="pt-BR"/>
            </a:defPPr>
            <a:lvl1pPr algn="ctr"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ANÁLISE DOS INVESTIMENTOS </a:t>
            </a:r>
            <a:r>
              <a:rPr lang="pt-BR" dirty="0"/>
              <a:t>EM </a:t>
            </a:r>
            <a:r>
              <a:rPr lang="pt-BR" dirty="0" smtClean="0"/>
              <a:t>TV ABERTA PRAÇA: </a:t>
            </a:r>
            <a:r>
              <a:rPr lang="pt-BR" dirty="0" smtClean="0"/>
              <a:t>BELO HORIZONTE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2110532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ixaDeTexto 11"/>
          <p:cNvSpPr txBox="1"/>
          <p:nvPr/>
        </p:nvSpPr>
        <p:spPr>
          <a:xfrm>
            <a:off x="193989" y="1062297"/>
            <a:ext cx="10262582" cy="677114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Em 2014, a Band TV tem a maior participação do investimentos da categoria comparado às emissoras concorrentes. Porém...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5981578" y="6913077"/>
            <a:ext cx="44502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Valores líquidos R$ (000)</a:t>
            </a:r>
          </a:p>
        </p:txBody>
      </p:sp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1285879241"/>
              </p:ext>
            </p:extLst>
          </p:nvPr>
        </p:nvGraphicFramePr>
        <p:xfrm>
          <a:off x="1428751" y="2208041"/>
          <a:ext cx="7638468" cy="4417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75096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93989" y="970857"/>
            <a:ext cx="10262582" cy="969502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...a única emissora com participaç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ão nos investimentos da </a:t>
            </a:r>
            <a:r>
              <a:rPr lang="pt-BR" sz="1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emil</a:t>
            </a:r>
            <a:r>
              <a:rPr lang="pt-BR" sz="1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foi o </a:t>
            </a:r>
            <a:r>
              <a:rPr lang="pt-BR" sz="1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bt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, mesmo este apresentando 13,1% de participação no </a:t>
            </a:r>
            <a:r>
              <a:rPr lang="pt-BR" sz="1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de audiência entre as principais emissoras de TV Aberta.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5894486" y="6836674"/>
            <a:ext cx="47163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onte</a:t>
            </a:r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: Ibope Monitor com descontos estimados – Valores líquidos R$ (000</a:t>
            </a:r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pt-BR" sz="1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Ibope Media Workstation – Target: Audiência Domiciliar Praça: Belo Horizonte</a:t>
            </a:r>
            <a:endParaRPr lang="pt-BR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592768741"/>
              </p:ext>
            </p:extLst>
          </p:nvPr>
        </p:nvGraphicFramePr>
        <p:xfrm>
          <a:off x="88528" y="2846115"/>
          <a:ext cx="5256585" cy="316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356728" y="2286268"/>
            <a:ext cx="49685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3 (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-dez): Investimento R$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2,9 mil 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Gráfico 9"/>
          <p:cNvGraphicFramePr/>
          <p:nvPr>
            <p:extLst>
              <p:ext uri="{D42A27DB-BD31-4B8C-83A1-F6EECF244321}">
                <p14:modId xmlns:p14="http://schemas.microsoft.com/office/powerpoint/2010/main" val="3092980704"/>
              </p:ext>
            </p:extLst>
          </p:nvPr>
        </p:nvGraphicFramePr>
        <p:xfrm>
          <a:off x="5199986" y="2846115"/>
          <a:ext cx="5256585" cy="316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5720086" y="2286268"/>
            <a:ext cx="49685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4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: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vestimento R$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4,7 mil 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Conector reto 11"/>
          <p:cNvCxnSpPr/>
          <p:nvPr/>
        </p:nvCxnSpPr>
        <p:spPr>
          <a:xfrm>
            <a:off x="160536" y="266565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/>
        </p:nvCxnSpPr>
        <p:spPr>
          <a:xfrm>
            <a:off x="5450777" y="266565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6725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51</TotalTime>
  <Words>427</Words>
  <Application>Microsoft Office PowerPoint</Application>
  <PresentationFormat>Personalizar</PresentationFormat>
  <Paragraphs>88</Paragraphs>
  <Slides>10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6" baseType="lpstr">
      <vt:lpstr>MS PGothic</vt:lpstr>
      <vt:lpstr>Arial</vt:lpstr>
      <vt:lpstr>Calibri</vt:lpstr>
      <vt:lpstr>Trebuchet MS</vt:lpstr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encia</dc:creator>
  <cp:lastModifiedBy>Gustavo Roberti</cp:lastModifiedBy>
  <cp:revision>58</cp:revision>
  <dcterms:created xsi:type="dcterms:W3CDTF">2014-04-01T20:14:56Z</dcterms:created>
  <dcterms:modified xsi:type="dcterms:W3CDTF">2014-10-02T17:29:45Z</dcterms:modified>
</cp:coreProperties>
</file>